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3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docProps/core.xml" ContentType="application/vnd.openxmlformats-package.core-properties+xml"/>
  <Override PartName="/ppt/tags/tag5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6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88" autoAdjust="0"/>
    <p:restoredTop sz="95280" autoAdjust="0"/>
  </p:normalViewPr>
  <p:slideViewPr>
    <p:cSldViewPr snapToGrid="0">
      <p:cViewPr>
        <p:scale>
          <a:sx n="100" d="100"/>
          <a:sy n="100" d="100"/>
        </p:scale>
        <p:origin x="630" y="-792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8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N°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8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N°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fr-FR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EUR ET AVANTAGE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fr-FR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PTION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fr-FR"/>
              <a:t>Anticiper la pénurie des pièces de rechange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fr-FR"/>
              <a:t>ELAU LMC300 PACDRIVE 3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eur : Obsolesc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Équipements : Rollquattr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de catalogue : OCL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 b="1">
                <a:solidFill>
                  <a:srgbClr val="E64B00"/>
                </a:solidFill>
              </a:rPr>
              <a:t>Une solution plus sûre grâce à la commercialisation d’un nouveau composant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 b="1">
                <a:solidFill>
                  <a:srgbClr val="E64B00"/>
                </a:solidFill>
              </a:rPr>
              <a:t>Prévention de longs temps d’arrêt en cas de panne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>
                <a:solidFill>
                  <a:srgbClr val="000000"/>
                </a:solidFill>
              </a:rPr>
              <a:t>Le fabricant a cessé la production des ELAU MAX-4/C 600/C 400 et MC-4 installés sur plusieurs étiqueteuses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>
                <a:solidFill>
                  <a:srgbClr val="000000"/>
                </a:solidFill>
              </a:rPr>
              <a:t>Risque imminent d’indisponibilité des pièces de rechange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>
                <a:solidFill>
                  <a:srgbClr val="000000"/>
                </a:solidFill>
              </a:rPr>
              <a:t>Risque d’un long temps d’arrêt pour les équipements sur les sites d’embouteillage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fr-FR" sz="1200" b="1">
                <a:solidFill>
                  <a:srgbClr val="E64B00"/>
                </a:solidFill>
              </a:rPr>
              <a:t>Nouvelle fonction de contrôle Ethernet/IP </a:t>
            </a:r>
            <a:r>
              <a:rPr lang="fr-FR" sz="1200">
                <a:solidFill>
                  <a:srgbClr val="000000"/>
                </a:solidFill>
              </a:rPr>
              <a:t>au niveau du convertisseur de fréquence (par rapport aux versions qui utilisaient Devicenet pour le marché américain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436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>
                <a:solidFill>
                  <a:srgbClr val="000000"/>
                </a:solidFill>
              </a:rPr>
              <a:t>Nouveau système doté du système </a:t>
            </a:r>
            <a:r>
              <a:rPr lang="fr-FR" sz="1200"/>
              <a:t>LMC300 PACDRIVE 3 </a:t>
            </a:r>
            <a:r>
              <a:rPr lang="fr-FR" sz="1200">
                <a:solidFill>
                  <a:srgbClr val="000000"/>
                </a:solidFill>
              </a:rPr>
              <a:t>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>
                <a:solidFill>
                  <a:srgbClr val="000000"/>
                </a:solidFill>
              </a:rPr>
              <a:t>Le nouveau système comprend l’automate </a:t>
            </a:r>
            <a:r>
              <a:rPr lang="fr-FR" sz="1200"/>
              <a:t>LMC300 PACDRIVE 3  </a:t>
            </a:r>
            <a:r>
              <a:rPr lang="fr-FR" sz="1200">
                <a:solidFill>
                  <a:srgbClr val="000000"/>
                </a:solidFill>
              </a:rPr>
              <a:t>doté d'un servomoteur LXM62 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fr-FR" sz="1200">
                <a:solidFill>
                  <a:srgbClr val="000000"/>
                </a:solidFill>
              </a:rPr>
              <a:t>Fonctionne uniquement avec les moteurs Elau SH qui seront aussi inclus dans les O&amp;U le cas échéant (pour remplacer le modèle SM obsolète)</a:t>
            </a:r>
          </a:p>
        </p:txBody>
      </p:sp>
      <p:pic>
        <p:nvPicPr>
          <p:cNvPr id="17" name="Immagine 16" descr="Immagine che contiene computer&#10;&#10;Descrizione generata automaticamente">
            <a:extLst>
              <a:ext uri="{FF2B5EF4-FFF2-40B4-BE49-F238E27FC236}">
                <a16:creationId xmlns:a16="http://schemas.microsoft.com/office/drawing/2014/main" id="{C71DD28B-7F8E-4DF3-9D39-675053A8A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0283" y="4144566"/>
            <a:ext cx="1407319" cy="1407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A741A42B-B3D9-4023-933F-1E395DB6C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757" y="4044553"/>
            <a:ext cx="1607344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10DE008-DDD1-4EF2-9560-57DF27CFF71B}"/>
</file>

<file path=customXml/itemProps2.xml><?xml version="1.0" encoding="utf-8"?>
<ds:datastoreItem xmlns:ds="http://schemas.openxmlformats.org/officeDocument/2006/customXml" ds:itemID="{49033066-A0BF-4EB3-9561-9A6A13805CAC}"/>
</file>

<file path=customXml/itemProps3.xml><?xml version="1.0" encoding="utf-8"?>
<ds:datastoreItem xmlns:ds="http://schemas.openxmlformats.org/officeDocument/2006/customXml" ds:itemID="{C2C410B1-E61C-4EF9-8848-8E3006D60C30}"/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62</TotalTime>
  <Words>171</Words>
  <Application>Microsoft Office PowerPoint</Application>
  <PresentationFormat>Affichage à l'écran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er la pénurie des pièces de rechan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Delphine Roger</cp:lastModifiedBy>
  <cp:revision>251</cp:revision>
  <dcterms:created xsi:type="dcterms:W3CDTF">2019-02-20T10:39:16Z</dcterms:created>
  <dcterms:modified xsi:type="dcterms:W3CDTF">2020-03-18T15:3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